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4"/>
    <p:sldMasterId id="2147483660" r:id="rId5"/>
  </p:sldMasterIdLst>
  <p:notesMasterIdLst>
    <p:notesMasterId r:id="rId11"/>
  </p:notesMasterIdLst>
  <p:sldIdLst>
    <p:sldId id="257" r:id="rId6"/>
    <p:sldId id="287" r:id="rId7"/>
    <p:sldId id="285" r:id="rId8"/>
    <p:sldId id="286" r:id="rId9"/>
    <p:sldId id="294" r:id="rId10"/>
  </p:sldIdLst>
  <p:sldSz cx="12192000" cy="6858000"/>
  <p:notesSz cx="6858000" cy="9144000"/>
  <p:embeddedFontLst>
    <p:embeddedFont>
      <p:font typeface="Helvetica Neue" panose="020B0604020202020204" charset="0"/>
      <p:regular r:id="rId12"/>
      <p:bold r:id="rId13"/>
      <p:italic r:id="rId14"/>
      <p:boldItalic r:id="rId15"/>
    </p:embeddedFont>
    <p:embeddedFont>
      <p:font typeface="Poppins" panose="00000500000000000000" pitchFamily="2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A2EHEGTwJEagQjan2jW9RlcbME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C3CC"/>
    <a:srgbClr val="FFFFFF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21B50C-04C7-46C1-A3B1-35782C26E111}" v="4" dt="2023-05-11T16:12:07.2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4.fntdata"/><Relationship Id="rId10" Type="http://schemas.openxmlformats.org/officeDocument/2006/relationships/slide" Target="slides/slide5.xml"/><Relationship Id="rId19" Type="http://schemas.openxmlformats.org/officeDocument/2006/relationships/font" Target="fonts/font8.fntdata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3.fntdata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luisa Pes" userId="2e7d9df5-0575-4dcc-80e5-bc0bfe81a8c2" providerId="ADAL" clId="{6621B50C-04C7-46C1-A3B1-35782C26E111}"/>
    <pc:docChg chg="undo custSel addSld delSld modSld sldOrd">
      <pc:chgData name="Marialuisa Pes" userId="2e7d9df5-0575-4dcc-80e5-bc0bfe81a8c2" providerId="ADAL" clId="{6621B50C-04C7-46C1-A3B1-35782C26E111}" dt="2023-05-22T15:33:29.100" v="430" actId="1076"/>
      <pc:docMkLst>
        <pc:docMk/>
      </pc:docMkLst>
      <pc:sldChg chg="modSp add mod">
        <pc:chgData name="Marialuisa Pes" userId="2e7d9df5-0575-4dcc-80e5-bc0bfe81a8c2" providerId="ADAL" clId="{6621B50C-04C7-46C1-A3B1-35782C26E111}" dt="2023-05-11T16:11:13.833" v="343" actId="1076"/>
        <pc:sldMkLst>
          <pc:docMk/>
          <pc:sldMk cId="0" sldId="257"/>
        </pc:sldMkLst>
        <pc:spChg chg="mod">
          <ac:chgData name="Marialuisa Pes" userId="2e7d9df5-0575-4dcc-80e5-bc0bfe81a8c2" providerId="ADAL" clId="{6621B50C-04C7-46C1-A3B1-35782C26E111}" dt="2023-05-11T16:11:13.833" v="343" actId="1076"/>
          <ac:spMkLst>
            <pc:docMk/>
            <pc:sldMk cId="0" sldId="257"/>
            <ac:spMk id="144" creationId="{00000000-0000-0000-0000-000000000000}"/>
          </ac:spMkLst>
        </pc:spChg>
      </pc:sldChg>
      <pc:sldChg chg="del">
        <pc:chgData name="Marialuisa Pes" userId="2e7d9df5-0575-4dcc-80e5-bc0bfe81a8c2" providerId="ADAL" clId="{6621B50C-04C7-46C1-A3B1-35782C26E111}" dt="2023-05-11T16:11:54.038" v="354" actId="47"/>
        <pc:sldMkLst>
          <pc:docMk/>
          <pc:sldMk cId="0" sldId="283"/>
        </pc:sldMkLst>
      </pc:sldChg>
      <pc:sldChg chg="del">
        <pc:chgData name="Marialuisa Pes" userId="2e7d9df5-0575-4dcc-80e5-bc0bfe81a8c2" providerId="ADAL" clId="{6621B50C-04C7-46C1-A3B1-35782C26E111}" dt="2023-05-10T08:29:25.715" v="169" actId="47"/>
        <pc:sldMkLst>
          <pc:docMk/>
          <pc:sldMk cId="211777908" sldId="284"/>
        </pc:sldMkLst>
      </pc:sldChg>
      <pc:sldChg chg="modSp mod">
        <pc:chgData name="Marialuisa Pes" userId="2e7d9df5-0575-4dcc-80e5-bc0bfe81a8c2" providerId="ADAL" clId="{6621B50C-04C7-46C1-A3B1-35782C26E111}" dt="2023-05-11T16:11:51.010" v="353" actId="208"/>
        <pc:sldMkLst>
          <pc:docMk/>
          <pc:sldMk cId="3928062708" sldId="285"/>
        </pc:sldMkLst>
        <pc:spChg chg="mod">
          <ac:chgData name="Marialuisa Pes" userId="2e7d9df5-0575-4dcc-80e5-bc0bfe81a8c2" providerId="ADAL" clId="{6621B50C-04C7-46C1-A3B1-35782C26E111}" dt="2023-05-11T16:10:48.635" v="312" actId="207"/>
          <ac:spMkLst>
            <pc:docMk/>
            <pc:sldMk cId="3928062708" sldId="285"/>
            <ac:spMk id="4" creationId="{AFEC7C63-2202-FA0B-1861-BCBAF1C478C3}"/>
          </ac:spMkLst>
        </pc:spChg>
        <pc:spChg chg="mod">
          <ac:chgData name="Marialuisa Pes" userId="2e7d9df5-0575-4dcc-80e5-bc0bfe81a8c2" providerId="ADAL" clId="{6621B50C-04C7-46C1-A3B1-35782C26E111}" dt="2023-05-10T08:45:01.692" v="305" actId="14100"/>
          <ac:spMkLst>
            <pc:docMk/>
            <pc:sldMk cId="3928062708" sldId="285"/>
            <ac:spMk id="14" creationId="{E2126B6F-60A9-A7D4-25B5-E7149B305EF5}"/>
          </ac:spMkLst>
        </pc:spChg>
        <pc:spChg chg="mod">
          <ac:chgData name="Marialuisa Pes" userId="2e7d9df5-0575-4dcc-80e5-bc0bfe81a8c2" providerId="ADAL" clId="{6621B50C-04C7-46C1-A3B1-35782C26E111}" dt="2023-05-11T16:11:45.546" v="351" actId="208"/>
          <ac:spMkLst>
            <pc:docMk/>
            <pc:sldMk cId="3928062708" sldId="285"/>
            <ac:spMk id="15" creationId="{2BCCD85E-5FC0-0812-C0C5-A9F7AD20A0C1}"/>
          </ac:spMkLst>
        </pc:spChg>
        <pc:spChg chg="mod">
          <ac:chgData name="Marialuisa Pes" userId="2e7d9df5-0575-4dcc-80e5-bc0bfe81a8c2" providerId="ADAL" clId="{6621B50C-04C7-46C1-A3B1-35782C26E111}" dt="2023-05-11T16:11:51.010" v="353" actId="208"/>
          <ac:spMkLst>
            <pc:docMk/>
            <pc:sldMk cId="3928062708" sldId="285"/>
            <ac:spMk id="16" creationId="{23990D08-B591-FB4D-C535-83DD0A6E4552}"/>
          </ac:spMkLst>
        </pc:spChg>
        <pc:spChg chg="mod">
          <ac:chgData name="Marialuisa Pes" userId="2e7d9df5-0575-4dcc-80e5-bc0bfe81a8c2" providerId="ADAL" clId="{6621B50C-04C7-46C1-A3B1-35782C26E111}" dt="2023-05-10T08:29:51.441" v="171" actId="1076"/>
          <ac:spMkLst>
            <pc:docMk/>
            <pc:sldMk cId="3928062708" sldId="285"/>
            <ac:spMk id="21" creationId="{F19149B9-063F-719C-E148-22E21C21F1AD}"/>
          </ac:spMkLst>
        </pc:spChg>
        <pc:spChg chg="mod">
          <ac:chgData name="Marialuisa Pes" userId="2e7d9df5-0575-4dcc-80e5-bc0bfe81a8c2" providerId="ADAL" clId="{6621B50C-04C7-46C1-A3B1-35782C26E111}" dt="2023-05-10T08:31:02.837" v="178" actId="208"/>
          <ac:spMkLst>
            <pc:docMk/>
            <pc:sldMk cId="3928062708" sldId="285"/>
            <ac:spMk id="22" creationId="{50A48E73-8934-2199-D41D-7C357769DAA0}"/>
          </ac:spMkLst>
        </pc:spChg>
        <pc:cxnChg chg="mod">
          <ac:chgData name="Marialuisa Pes" userId="2e7d9df5-0575-4dcc-80e5-bc0bfe81a8c2" providerId="ADAL" clId="{6621B50C-04C7-46C1-A3B1-35782C26E111}" dt="2023-05-10T08:31:07.998" v="179" actId="14100"/>
          <ac:cxnSpMkLst>
            <pc:docMk/>
            <pc:sldMk cId="3928062708" sldId="285"/>
            <ac:cxnSpMk id="24" creationId="{63C2122E-F142-9DBE-AA20-E507B1DD97B7}"/>
          </ac:cxnSpMkLst>
        </pc:cxnChg>
      </pc:sldChg>
      <pc:sldChg chg="modSp mod">
        <pc:chgData name="Marialuisa Pes" userId="2e7d9df5-0575-4dcc-80e5-bc0bfe81a8c2" providerId="ADAL" clId="{6621B50C-04C7-46C1-A3B1-35782C26E111}" dt="2023-05-11T16:11:32.239" v="348" actId="208"/>
        <pc:sldMkLst>
          <pc:docMk/>
          <pc:sldMk cId="2000061768" sldId="286"/>
        </pc:sldMkLst>
        <pc:spChg chg="mod">
          <ac:chgData name="Marialuisa Pes" userId="2e7d9df5-0575-4dcc-80e5-bc0bfe81a8c2" providerId="ADAL" clId="{6621B50C-04C7-46C1-A3B1-35782C26E111}" dt="2023-05-11T16:10:51.348" v="313" actId="207"/>
          <ac:spMkLst>
            <pc:docMk/>
            <pc:sldMk cId="2000061768" sldId="286"/>
            <ac:spMk id="4" creationId="{AFEC7C63-2202-FA0B-1861-BCBAF1C478C3}"/>
          </ac:spMkLst>
        </pc:spChg>
        <pc:spChg chg="mod">
          <ac:chgData name="Marialuisa Pes" userId="2e7d9df5-0575-4dcc-80e5-bc0bfe81a8c2" providerId="ADAL" clId="{6621B50C-04C7-46C1-A3B1-35782C26E111}" dt="2023-05-10T08:33:46.602" v="213" actId="1076"/>
          <ac:spMkLst>
            <pc:docMk/>
            <pc:sldMk cId="2000061768" sldId="286"/>
            <ac:spMk id="14" creationId="{E2126B6F-60A9-A7D4-25B5-E7149B305EF5}"/>
          </ac:spMkLst>
        </pc:spChg>
        <pc:spChg chg="mod">
          <ac:chgData name="Marialuisa Pes" userId="2e7d9df5-0575-4dcc-80e5-bc0bfe81a8c2" providerId="ADAL" clId="{6621B50C-04C7-46C1-A3B1-35782C26E111}" dt="2023-05-10T08:33:50.339" v="214" actId="1076"/>
          <ac:spMkLst>
            <pc:docMk/>
            <pc:sldMk cId="2000061768" sldId="286"/>
            <ac:spMk id="21" creationId="{F19149B9-063F-719C-E148-22E21C21F1AD}"/>
          </ac:spMkLst>
        </pc:spChg>
        <pc:spChg chg="mod">
          <ac:chgData name="Marialuisa Pes" userId="2e7d9df5-0575-4dcc-80e5-bc0bfe81a8c2" providerId="ADAL" clId="{6621B50C-04C7-46C1-A3B1-35782C26E111}" dt="2023-05-11T16:11:18.993" v="344" actId="207"/>
          <ac:spMkLst>
            <pc:docMk/>
            <pc:sldMk cId="2000061768" sldId="286"/>
            <ac:spMk id="25" creationId="{1F539F88-BBEF-4BA9-6319-5B20E8E33AE2}"/>
          </ac:spMkLst>
        </pc:spChg>
        <pc:spChg chg="mod">
          <ac:chgData name="Marialuisa Pes" userId="2e7d9df5-0575-4dcc-80e5-bc0bfe81a8c2" providerId="ADAL" clId="{6621B50C-04C7-46C1-A3B1-35782C26E111}" dt="2023-05-11T16:11:26.074" v="346" actId="208"/>
          <ac:spMkLst>
            <pc:docMk/>
            <pc:sldMk cId="2000061768" sldId="286"/>
            <ac:spMk id="26" creationId="{D4196AD5-38C2-C0EA-A6FD-73329CD65DCA}"/>
          </ac:spMkLst>
        </pc:spChg>
        <pc:spChg chg="mod">
          <ac:chgData name="Marialuisa Pes" userId="2e7d9df5-0575-4dcc-80e5-bc0bfe81a8c2" providerId="ADAL" clId="{6621B50C-04C7-46C1-A3B1-35782C26E111}" dt="2023-05-10T08:32:25.711" v="190" actId="207"/>
          <ac:spMkLst>
            <pc:docMk/>
            <pc:sldMk cId="2000061768" sldId="286"/>
            <ac:spMk id="28" creationId="{70198255-5D19-4828-3E3B-84B0A15AF9AB}"/>
          </ac:spMkLst>
        </pc:spChg>
        <pc:spChg chg="mod">
          <ac:chgData name="Marialuisa Pes" userId="2e7d9df5-0575-4dcc-80e5-bc0bfe81a8c2" providerId="ADAL" clId="{6621B50C-04C7-46C1-A3B1-35782C26E111}" dt="2023-05-11T16:11:32.239" v="348" actId="208"/>
          <ac:spMkLst>
            <pc:docMk/>
            <pc:sldMk cId="2000061768" sldId="286"/>
            <ac:spMk id="29" creationId="{B39C449D-C7DA-A063-0319-4E5EF243C122}"/>
          </ac:spMkLst>
        </pc:spChg>
        <pc:grpChg chg="mod">
          <ac:chgData name="Marialuisa Pes" userId="2e7d9df5-0575-4dcc-80e5-bc0bfe81a8c2" providerId="ADAL" clId="{6621B50C-04C7-46C1-A3B1-35782C26E111}" dt="2023-05-10T08:32:23.371" v="189" actId="207"/>
          <ac:grpSpMkLst>
            <pc:docMk/>
            <pc:sldMk cId="2000061768" sldId="286"/>
            <ac:grpSpMk id="23" creationId="{607B9237-FC1A-117B-909E-0B1517F21426}"/>
          </ac:grpSpMkLst>
        </pc:grpChg>
        <pc:grpChg chg="mod">
          <ac:chgData name="Marialuisa Pes" userId="2e7d9df5-0575-4dcc-80e5-bc0bfe81a8c2" providerId="ADAL" clId="{6621B50C-04C7-46C1-A3B1-35782C26E111}" dt="2023-05-10T08:32:31.959" v="199" actId="1036"/>
          <ac:grpSpMkLst>
            <pc:docMk/>
            <pc:sldMk cId="2000061768" sldId="286"/>
            <ac:grpSpMk id="27" creationId="{F74C89D2-45CE-812F-ABDC-B6CD72FF69A6}"/>
          </ac:grpSpMkLst>
        </pc:grpChg>
        <pc:picChg chg="mod">
          <ac:chgData name="Marialuisa Pes" userId="2e7d9df5-0575-4dcc-80e5-bc0bfe81a8c2" providerId="ADAL" clId="{6621B50C-04C7-46C1-A3B1-35782C26E111}" dt="2023-05-10T08:32:31.959" v="199" actId="1036"/>
          <ac:picMkLst>
            <pc:docMk/>
            <pc:sldMk cId="2000061768" sldId="286"/>
            <ac:picMk id="12" creationId="{612BB06B-711F-7AB6-94AA-D4471B63CCEC}"/>
          </ac:picMkLst>
        </pc:picChg>
        <pc:picChg chg="mod">
          <ac:chgData name="Marialuisa Pes" userId="2e7d9df5-0575-4dcc-80e5-bc0bfe81a8c2" providerId="ADAL" clId="{6621B50C-04C7-46C1-A3B1-35782C26E111}" dt="2023-05-10T08:32:31.959" v="199" actId="1036"/>
          <ac:picMkLst>
            <pc:docMk/>
            <pc:sldMk cId="2000061768" sldId="286"/>
            <ac:picMk id="13" creationId="{9232D4E5-4747-8D5D-6D3A-DAD6EB7FD925}"/>
          </ac:picMkLst>
        </pc:picChg>
      </pc:sldChg>
      <pc:sldChg chg="addSp delSp modSp add mod ord">
        <pc:chgData name="Marialuisa Pes" userId="2e7d9df5-0575-4dcc-80e5-bc0bfe81a8c2" providerId="ADAL" clId="{6621B50C-04C7-46C1-A3B1-35782C26E111}" dt="2023-05-11T16:10:44.796" v="311" actId="478"/>
        <pc:sldMkLst>
          <pc:docMk/>
          <pc:sldMk cId="516493219" sldId="287"/>
        </pc:sldMkLst>
        <pc:spChg chg="add del mod">
          <ac:chgData name="Marialuisa Pes" userId="2e7d9df5-0575-4dcc-80e5-bc0bfe81a8c2" providerId="ADAL" clId="{6621B50C-04C7-46C1-A3B1-35782C26E111}" dt="2023-05-11T16:10:44.796" v="311" actId="478"/>
          <ac:spMkLst>
            <pc:docMk/>
            <pc:sldMk cId="516493219" sldId="287"/>
            <ac:spMk id="3" creationId="{A51B57AE-5B87-428A-1EE9-1E22CDE5DABE}"/>
          </ac:spMkLst>
        </pc:spChg>
        <pc:spChg chg="mod">
          <ac:chgData name="Marialuisa Pes" userId="2e7d9df5-0575-4dcc-80e5-bc0bfe81a8c2" providerId="ADAL" clId="{6621B50C-04C7-46C1-A3B1-35782C26E111}" dt="2023-05-11T16:10:42.637" v="310" actId="207"/>
          <ac:spMkLst>
            <pc:docMk/>
            <pc:sldMk cId="516493219" sldId="287"/>
            <ac:spMk id="4" creationId="{AFEC7C63-2202-FA0B-1861-BCBAF1C478C3}"/>
          </ac:spMkLst>
        </pc:spChg>
        <pc:spChg chg="mod">
          <ac:chgData name="Marialuisa Pes" userId="2e7d9df5-0575-4dcc-80e5-bc0bfe81a8c2" providerId="ADAL" clId="{6621B50C-04C7-46C1-A3B1-35782C26E111}" dt="2023-05-10T08:29:17.788" v="167" actId="20577"/>
          <ac:spMkLst>
            <pc:docMk/>
            <pc:sldMk cId="516493219" sldId="287"/>
            <ac:spMk id="14" creationId="{E2126B6F-60A9-A7D4-25B5-E7149B305EF5}"/>
          </ac:spMkLst>
        </pc:spChg>
        <pc:grpChg chg="del">
          <ac:chgData name="Marialuisa Pes" userId="2e7d9df5-0575-4dcc-80e5-bc0bfe81a8c2" providerId="ADAL" clId="{6621B50C-04C7-46C1-A3B1-35782C26E111}" dt="2023-05-10T08:25:25.385" v="53" actId="478"/>
          <ac:grpSpMkLst>
            <pc:docMk/>
            <pc:sldMk cId="516493219" sldId="287"/>
            <ac:grpSpMk id="19" creationId="{7874B613-1DD8-452E-46C3-EAC6D720F577}"/>
          </ac:grpSpMkLst>
        </pc:grpChg>
        <pc:grpChg chg="del">
          <ac:chgData name="Marialuisa Pes" userId="2e7d9df5-0575-4dcc-80e5-bc0bfe81a8c2" providerId="ADAL" clId="{6621B50C-04C7-46C1-A3B1-35782C26E111}" dt="2023-05-10T08:25:25.865" v="54" actId="478"/>
          <ac:grpSpMkLst>
            <pc:docMk/>
            <pc:sldMk cId="516493219" sldId="287"/>
            <ac:grpSpMk id="20" creationId="{4F245621-D474-62D1-E597-57448961993F}"/>
          </ac:grpSpMkLst>
        </pc:grpChg>
        <pc:picChg chg="add mod">
          <ac:chgData name="Marialuisa Pes" userId="2e7d9df5-0575-4dcc-80e5-bc0bfe81a8c2" providerId="ADAL" clId="{6621B50C-04C7-46C1-A3B1-35782C26E111}" dt="2023-05-10T08:28:21.360" v="154" actId="1076"/>
          <ac:picMkLst>
            <pc:docMk/>
            <pc:sldMk cId="516493219" sldId="287"/>
            <ac:picMk id="6" creationId="{E323FEC3-0B81-E4FD-E1A4-66C5F4464BE0}"/>
          </ac:picMkLst>
        </pc:picChg>
        <pc:picChg chg="add mod">
          <ac:chgData name="Marialuisa Pes" userId="2e7d9df5-0575-4dcc-80e5-bc0bfe81a8c2" providerId="ADAL" clId="{6621B50C-04C7-46C1-A3B1-35782C26E111}" dt="2023-05-10T08:31:28.467" v="182" actId="1076"/>
          <ac:picMkLst>
            <pc:docMk/>
            <pc:sldMk cId="516493219" sldId="287"/>
            <ac:picMk id="7" creationId="{384A82CC-2E91-D32B-86FF-774D981FCB5D}"/>
          </ac:picMkLst>
        </pc:picChg>
        <pc:picChg chg="del">
          <ac:chgData name="Marialuisa Pes" userId="2e7d9df5-0575-4dcc-80e5-bc0bfe81a8c2" providerId="ADAL" clId="{6621B50C-04C7-46C1-A3B1-35782C26E111}" dt="2023-05-10T08:25:24.013" v="51" actId="478"/>
          <ac:picMkLst>
            <pc:docMk/>
            <pc:sldMk cId="516493219" sldId="287"/>
            <ac:picMk id="11" creationId="{50180FBF-B7FC-EF8E-5793-E8C5C5101F74}"/>
          </ac:picMkLst>
        </pc:picChg>
        <pc:picChg chg="del">
          <ac:chgData name="Marialuisa Pes" userId="2e7d9df5-0575-4dcc-80e5-bc0bfe81a8c2" providerId="ADAL" clId="{6621B50C-04C7-46C1-A3B1-35782C26E111}" dt="2023-05-10T08:25:24.694" v="52" actId="478"/>
          <ac:picMkLst>
            <pc:docMk/>
            <pc:sldMk cId="516493219" sldId="287"/>
            <ac:picMk id="12" creationId="{BD8BCFEC-6805-7E60-900F-E78D3AAE79C3}"/>
          </ac:picMkLst>
        </pc:picChg>
        <pc:picChg chg="del">
          <ac:chgData name="Marialuisa Pes" userId="2e7d9df5-0575-4dcc-80e5-bc0bfe81a8c2" providerId="ADAL" clId="{6621B50C-04C7-46C1-A3B1-35782C26E111}" dt="2023-05-10T08:25:26.270" v="55" actId="478"/>
          <ac:picMkLst>
            <pc:docMk/>
            <pc:sldMk cId="516493219" sldId="287"/>
            <ac:picMk id="13" creationId="{B148A4FB-8719-A5E2-6B77-F367367DD74C}"/>
          </ac:picMkLst>
        </pc:picChg>
      </pc:sldChg>
      <pc:sldChg chg="modSp add mod">
        <pc:chgData name="Marialuisa Pes" userId="2e7d9df5-0575-4dcc-80e5-bc0bfe81a8c2" providerId="ADAL" clId="{6621B50C-04C7-46C1-A3B1-35782C26E111}" dt="2023-05-22T15:33:29.100" v="430" actId="1076"/>
        <pc:sldMkLst>
          <pc:docMk/>
          <pc:sldMk cId="3442962960" sldId="294"/>
        </pc:sldMkLst>
        <pc:spChg chg="mod">
          <ac:chgData name="Marialuisa Pes" userId="2e7d9df5-0575-4dcc-80e5-bc0bfe81a8c2" providerId="ADAL" clId="{6621B50C-04C7-46C1-A3B1-35782C26E111}" dt="2023-05-22T15:33:29.100" v="430" actId="1076"/>
          <ac:spMkLst>
            <pc:docMk/>
            <pc:sldMk cId="3442962960" sldId="294"/>
            <ac:spMk id="4" creationId="{CF5BD1F7-E378-BB4A-8677-781102B268C6}"/>
          </ac:spMkLst>
        </pc:spChg>
        <pc:spChg chg="mod">
          <ac:chgData name="Marialuisa Pes" userId="2e7d9df5-0575-4dcc-80e5-bc0bfe81a8c2" providerId="ADAL" clId="{6621B50C-04C7-46C1-A3B1-35782C26E111}" dt="2023-05-11T16:12:18.828" v="395" actId="20577"/>
          <ac:spMkLst>
            <pc:docMk/>
            <pc:sldMk cId="3442962960" sldId="294"/>
            <ac:spMk id="212" creationId="{00000000-0000-0000-0000-000000000000}"/>
          </ac:spMkLst>
        </pc:spChg>
      </pc:sldChg>
      <pc:sldMasterChg chg="delSldLayout">
        <pc:chgData name="Marialuisa Pes" userId="2e7d9df5-0575-4dcc-80e5-bc0bfe81a8c2" providerId="ADAL" clId="{6621B50C-04C7-46C1-A3B1-35782C26E111}" dt="2023-05-11T16:11:54.038" v="354" actId="47"/>
        <pc:sldMasterMkLst>
          <pc:docMk/>
          <pc:sldMasterMk cId="0" sldId="2147483648"/>
        </pc:sldMasterMkLst>
        <pc:sldLayoutChg chg="del">
          <pc:chgData name="Marialuisa Pes" userId="2e7d9df5-0575-4dcc-80e5-bc0bfe81a8c2" providerId="ADAL" clId="{6621B50C-04C7-46C1-A3B1-35782C26E111}" dt="2023-05-11T16:11:54.038" v="354" actId="47"/>
          <pc:sldLayoutMkLst>
            <pc:docMk/>
            <pc:sldMasterMk cId="0" sldId="2147483648"/>
            <pc:sldLayoutMk cId="3374010523" sldId="2147483672"/>
          </pc:sldLayoutMkLst>
        </pc:sldLayoutChg>
      </pc:sldMasterChg>
    </pc:docChg>
  </pc:docChgLst>
  <pc:docChgLst>
    <pc:chgData name="Luca Meloni" userId="e94aa468-8550-4c92-af2a-0e13bcf64486" providerId="ADAL" clId="{168E4DFC-5DB4-49AB-AE7F-9A6D787E374E}"/>
    <pc:docChg chg="delSld delMainMaster">
      <pc:chgData name="Luca Meloni" userId="e94aa468-8550-4c92-af2a-0e13bcf64486" providerId="ADAL" clId="{168E4DFC-5DB4-49AB-AE7F-9A6D787E374E}" dt="2023-04-26T10:26:08.435" v="0" actId="47"/>
      <pc:docMkLst>
        <pc:docMk/>
      </pc:docMkLst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56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57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58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59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0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1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2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3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4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5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6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7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8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69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0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1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2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3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4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5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6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7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8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79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80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81"/>
        </pc:sldMkLst>
      </pc:sldChg>
      <pc:sldChg chg="del">
        <pc:chgData name="Luca Meloni" userId="e94aa468-8550-4c92-af2a-0e13bcf64486" providerId="ADAL" clId="{168E4DFC-5DB4-49AB-AE7F-9A6D787E374E}" dt="2023-04-26T10:26:08.435" v="0" actId="47"/>
        <pc:sldMkLst>
          <pc:docMk/>
          <pc:sldMk cId="0" sldId="282"/>
        </pc:sldMkLst>
      </pc:sldChg>
      <pc:sldMasterChg chg="delSldLayout">
        <pc:chgData name="Luca Meloni" userId="e94aa468-8550-4c92-af2a-0e13bcf64486" providerId="ADAL" clId="{168E4DFC-5DB4-49AB-AE7F-9A6D787E374E}" dt="2023-04-26T10:26:08.435" v="0" actId="47"/>
        <pc:sldMasterMkLst>
          <pc:docMk/>
          <pc:sldMasterMk cId="0" sldId="2147483648"/>
        </pc:sldMasterMkLst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49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0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1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2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3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4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48"/>
            <pc:sldLayoutMk cId="0" sldId="2147483655"/>
          </pc:sldLayoutMkLst>
        </pc:sldLayoutChg>
      </pc:sldMasterChg>
      <pc:sldMasterChg chg="del delSldLayout">
        <pc:chgData name="Luca Meloni" userId="e94aa468-8550-4c92-af2a-0e13bcf64486" providerId="ADAL" clId="{168E4DFC-5DB4-49AB-AE7F-9A6D787E374E}" dt="2023-04-26T10:26:08.435" v="0" actId="47"/>
        <pc:sldMasterMkLst>
          <pc:docMk/>
          <pc:sldMasterMk cId="0" sldId="2147483656"/>
        </pc:sldMasterMkLst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56"/>
            <pc:sldLayoutMk cId="0" sldId="2147483657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56"/>
            <pc:sldLayoutMk cId="0" sldId="2147483658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56"/>
            <pc:sldLayoutMk cId="0" sldId="2147483659"/>
          </pc:sldLayoutMkLst>
        </pc:sldLayoutChg>
      </pc:sldMasterChg>
      <pc:sldMasterChg chg="delSldLayout">
        <pc:chgData name="Luca Meloni" userId="e94aa468-8550-4c92-af2a-0e13bcf64486" providerId="ADAL" clId="{168E4DFC-5DB4-49AB-AE7F-9A6D787E374E}" dt="2023-04-26T10:26:08.435" v="0" actId="47"/>
        <pc:sldMasterMkLst>
          <pc:docMk/>
          <pc:sldMasterMk cId="0" sldId="2147483660"/>
        </pc:sldMasterMkLst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2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3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4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5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6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7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8"/>
          </pc:sldLayoutMkLst>
        </pc:sldLayoutChg>
        <pc:sldLayoutChg chg="del">
          <pc:chgData name="Luca Meloni" userId="e94aa468-8550-4c92-af2a-0e13bcf64486" providerId="ADAL" clId="{168E4DFC-5DB4-49AB-AE7F-9A6D787E374E}" dt="2023-04-26T10:26:08.435" v="0" actId="47"/>
          <pc:sldLayoutMkLst>
            <pc:docMk/>
            <pc:sldMasterMk cId="0" sldId="2147483660"/>
            <pc:sldLayoutMk cId="0" sldId="214748366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369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Icon">
  <p:cSld name="Cover_Icon">
    <p:bg>
      <p:bgPr>
        <a:solidFill>
          <a:srgbClr val="FFFFFF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0"/>
          <p:cNvSpPr txBox="1">
            <a:spLocks noGrp="1"/>
          </p:cNvSpPr>
          <p:nvPr>
            <p:ph type="ctrTitle"/>
          </p:nvPr>
        </p:nvSpPr>
        <p:spPr>
          <a:xfrm>
            <a:off x="6104601" y="3442252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  <a:defRPr sz="5000" b="1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Fare clic per modificare lo stile del titolo dello schema</a:t>
            </a:r>
            <a:endParaRPr/>
          </a:p>
        </p:txBody>
      </p:sp>
      <p:sp>
        <p:nvSpPr>
          <p:cNvPr id="17" name="Google Shape;17;p30"/>
          <p:cNvSpPr txBox="1">
            <a:spLocks noGrp="1"/>
          </p:cNvSpPr>
          <p:nvPr>
            <p:ph type="subTitle" idx="1"/>
          </p:nvPr>
        </p:nvSpPr>
        <p:spPr>
          <a:xfrm>
            <a:off x="6104601" y="2831747"/>
            <a:ext cx="5764731" cy="58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DCCD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it-IT"/>
              <a:t>Fare clic per modificare lo stile del sottotitolo dello schema</a:t>
            </a:r>
            <a:endParaRPr/>
          </a:p>
        </p:txBody>
      </p:sp>
      <p:pic>
        <p:nvPicPr>
          <p:cNvPr id="18" name="Google Shape;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09417" y="301147"/>
            <a:ext cx="5225102" cy="62515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9954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simple">
  <p:cSld name="content_simpl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7" name="Google Shape;57;p41"/>
          <p:cNvSpPr txBox="1">
            <a:spLocks noGrp="1"/>
          </p:cNvSpPr>
          <p:nvPr>
            <p:ph type="body" idx="1"/>
          </p:nvPr>
        </p:nvSpPr>
        <p:spPr>
          <a:xfrm>
            <a:off x="316532" y="2120348"/>
            <a:ext cx="11697821" cy="3472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4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 i="0" u="none" strike="noStrike" cap="none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59" name="Google Shape;59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41"/>
          <p:cNvSpPr txBox="1">
            <a:spLocks noGrp="1"/>
          </p:cNvSpPr>
          <p:nvPr>
            <p:ph type="title"/>
          </p:nvPr>
        </p:nvSpPr>
        <p:spPr>
          <a:xfrm>
            <a:off x="316532" y="404929"/>
            <a:ext cx="1169782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None/>
              <a:defRPr sz="42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chart">
  <p:cSld name="Content + char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50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23" name="Google Shape;123;p50"/>
          <p:cNvSpPr txBox="1">
            <a:spLocks noGrp="1"/>
          </p:cNvSpPr>
          <p:nvPr>
            <p:ph type="body" idx="1"/>
          </p:nvPr>
        </p:nvSpPr>
        <p:spPr>
          <a:xfrm>
            <a:off x="6294782" y="325368"/>
            <a:ext cx="5719572" cy="5660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50"/>
          <p:cNvSpPr txBox="1">
            <a:spLocks noGrp="1"/>
          </p:cNvSpPr>
          <p:nvPr>
            <p:ph type="body" idx="2"/>
          </p:nvPr>
        </p:nvSpPr>
        <p:spPr>
          <a:xfrm>
            <a:off x="316532" y="1789044"/>
            <a:ext cx="5686702" cy="41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5" name="Google Shape;125;p50"/>
          <p:cNvSpPr txBox="1">
            <a:spLocks noGrp="1"/>
          </p:cNvSpPr>
          <p:nvPr>
            <p:ph type="title"/>
          </p:nvPr>
        </p:nvSpPr>
        <p:spPr>
          <a:xfrm>
            <a:off x="316533" y="325368"/>
            <a:ext cx="568670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50"/>
          <p:cNvSpPr txBox="1">
            <a:spLocks noGrp="1"/>
          </p:cNvSpPr>
          <p:nvPr>
            <p:ph type="subTitle" idx="3"/>
          </p:nvPr>
        </p:nvSpPr>
        <p:spPr>
          <a:xfrm>
            <a:off x="316533" y="1238375"/>
            <a:ext cx="5686702" cy="298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A7A8AA"/>
              </a:buClr>
              <a:buSzPts val="1600"/>
              <a:buNone/>
              <a:defRPr sz="1600" i="0" u="none" strike="noStrike" cap="none">
                <a:solidFill>
                  <a:srgbClr val="A7A8AA"/>
                </a:solidFill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i="0" u="none" strike="noStrike" cap="none">
                <a:solidFill>
                  <a:schemeClr val="dk1"/>
                </a:solidFill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i="0" u="none" strike="noStrike" cap="none">
                <a:solidFill>
                  <a:schemeClr val="dk1"/>
                </a:solidFill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7" name="Google Shape;127;p50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28" name="Google Shape;128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bg>
      <p:bgPr>
        <a:solidFill>
          <a:srgbClr val="FFFFFF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5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131" name="Google Shape;131;p5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32" name="Google Shape;132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4B58CA43-AFDE-22CF-1D73-04BEB372A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4462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4B58CA43-AFDE-22CF-1D73-04BEB372A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Helvetica Neue"/>
              <a:buNone/>
              <a:defRPr sz="44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DBBC8CC-8A2F-DA06-B954-6046795B8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5888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DBBC8CC-8A2F-DA06-B954-6046795B8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4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None/>
              <a:defRPr sz="4400" b="1" i="0" u="none" strike="noStrike" cap="none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hyperlink" Target="https://retexspa.atlassian.net/servicedesk/customer/portal/5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9DA343E9-259A-B6BE-B282-1CB9CB8E22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9DA343E9-259A-B6BE-B282-1CB9CB8E2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Google Shape;144;p2"/>
          <p:cNvSpPr txBox="1">
            <a:spLocks noGrp="1"/>
          </p:cNvSpPr>
          <p:nvPr>
            <p:ph type="ctrTitle"/>
          </p:nvPr>
        </p:nvSpPr>
        <p:spPr>
          <a:xfrm>
            <a:off x="5726130" y="4083728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it-IT" sz="6000" dirty="0">
                <a:solidFill>
                  <a:srgbClr val="68C3CC"/>
                </a:solidFill>
                <a:latin typeface="Poppins"/>
                <a:cs typeface="Poppins"/>
                <a:sym typeface="Arial"/>
              </a:rPr>
              <a:t>Supporto tech</a:t>
            </a:r>
            <a:br>
              <a:rPr lang="it-IT" sz="6000" dirty="0">
                <a:solidFill>
                  <a:srgbClr val="68C3CC"/>
                </a:solidFill>
                <a:latin typeface="Poppins"/>
                <a:cs typeface="Poppins"/>
                <a:sym typeface="Arial"/>
              </a:rPr>
            </a:br>
            <a:r>
              <a:rPr lang="it-IT" sz="6000" dirty="0">
                <a:solidFill>
                  <a:srgbClr val="68C3CC"/>
                </a:solidFill>
                <a:latin typeface="Poppins"/>
                <a:cs typeface="Poppins"/>
                <a:sym typeface="Arial"/>
              </a:rPr>
              <a:t>JIRA</a:t>
            </a:r>
            <a:br>
              <a:rPr lang="it-IT" sz="6000" dirty="0">
                <a:solidFill>
                  <a:srgbClr val="00B0F0"/>
                </a:solidFill>
                <a:latin typeface="Poppins"/>
                <a:cs typeface="Poppins"/>
                <a:sym typeface="Arial"/>
              </a:rPr>
            </a:br>
            <a:endParaRPr lang="it-IT" sz="2800" dirty="0">
              <a:solidFill>
                <a:srgbClr val="68C3CC"/>
              </a:solidFill>
              <a:latin typeface="Poppins"/>
              <a:cs typeface="Poppin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0E23CF30-B376-A9D1-3F77-7DCE1FF4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0E23CF30-B376-A9D1-3F77-7DCE1FF4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C002EC46-BE1B-333E-AD23-5D7D8FD8360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2</a:t>
            </a:fld>
            <a:endParaRPr lang="it-IT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FEC7C63-2202-FA0B-1861-BCBAF1C47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532" y="343284"/>
            <a:ext cx="11697822" cy="858028"/>
          </a:xfrm>
        </p:spPr>
        <p:txBody>
          <a:bodyPr vert="horz"/>
          <a:lstStyle/>
          <a:p>
            <a:pPr algn="l"/>
            <a:r>
              <a:rPr lang="it-IT" sz="3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 cos’è </a:t>
            </a:r>
            <a:r>
              <a:rPr lang="it-IT" sz="3000" dirty="0" err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Jira</a:t>
            </a:r>
            <a:r>
              <a:rPr lang="it-IT" sz="3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?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2126B6F-60A9-A7D4-25B5-E7149B305EF5}"/>
              </a:ext>
            </a:extLst>
          </p:cNvPr>
          <p:cNvSpPr txBox="1"/>
          <p:nvPr/>
        </p:nvSpPr>
        <p:spPr>
          <a:xfrm>
            <a:off x="316532" y="1531997"/>
            <a:ext cx="657742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latin typeface="Poppins" panose="00000500000000000000" pitchFamily="2" charset="0"/>
                <a:cs typeface="Poppins" panose="00000500000000000000" pitchFamily="2" charset="0"/>
              </a:rPr>
              <a:t>Jir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 è il portale tramite cui è possibile aprire una richiesta di supporto IT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Riceverai una mail da </a:t>
            </a:r>
            <a:r>
              <a:rPr lang="it-IT" dirty="0" err="1">
                <a:latin typeface="Poppins" panose="00000500000000000000" pitchFamily="2" charset="0"/>
                <a:cs typeface="Poppins" panose="00000500000000000000" pitchFamily="2" charset="0"/>
              </a:rPr>
              <a:t>Jir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 per la registrazione al portale: cliccando su «</a:t>
            </a:r>
            <a:r>
              <a:rPr lang="it-IT" b="1" dirty="0" err="1">
                <a:latin typeface="Poppins" panose="00000500000000000000" pitchFamily="2" charset="0"/>
                <a:cs typeface="Poppins" panose="00000500000000000000" pitchFamily="2" charset="0"/>
              </a:rPr>
              <a:t>sign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-up link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potrai procedere inserendo la tua mail e la password scelta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E323FEC3-0B81-E4FD-E1A4-66C5F4464B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864" y="1084656"/>
            <a:ext cx="4762604" cy="5174464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84A82CC-2E91-D32B-86FF-774D981FCB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9268" y="3221763"/>
            <a:ext cx="4291956" cy="226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493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0E23CF30-B376-A9D1-3F77-7DCE1FF4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34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0E23CF30-B376-A9D1-3F77-7DCE1FF4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C002EC46-BE1B-333E-AD23-5D7D8FD8360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3</a:t>
            </a:fld>
            <a:endParaRPr lang="it-IT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FEC7C63-2202-FA0B-1861-BCBAF1C47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532" y="375493"/>
            <a:ext cx="11697822" cy="858028"/>
          </a:xfrm>
        </p:spPr>
        <p:txBody>
          <a:bodyPr vert="horz"/>
          <a:lstStyle/>
          <a:p>
            <a:pPr algn="l"/>
            <a:r>
              <a:rPr lang="it-IT" sz="3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aprire un ticket per il supporto IT?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2126B6F-60A9-A7D4-25B5-E7149B305EF5}"/>
              </a:ext>
            </a:extLst>
          </p:cNvPr>
          <p:cNvSpPr txBox="1"/>
          <p:nvPr/>
        </p:nvSpPr>
        <p:spPr>
          <a:xfrm>
            <a:off x="316532" y="1233935"/>
            <a:ext cx="1169782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Per aprire una richiesta, basterà collegarsi alla piattaforma dal seguente link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  <a:hlinkClick r:id="rId5"/>
              </a:rPr>
              <a:t>https://retexspa.atlassian.net/servicedesk/customer/portal/5 </a:t>
            </a: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Ti saranno presentate diverse Macro categorie da selezionare per inquadrare al meglio il problema per cui richiedi assistenza (nell’esempio, Utenti e Posta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 Email)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  <a:sym typeface="Wingdings" panose="05000000000000000000" pitchFamily="2" charset="2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581CB7AB-9291-5E03-C31A-87CDB35A6AAB}"/>
              </a:ext>
            </a:extLst>
          </p:cNvPr>
          <p:cNvGrpSpPr/>
          <p:nvPr/>
        </p:nvGrpSpPr>
        <p:grpSpPr>
          <a:xfrm>
            <a:off x="708506" y="2595882"/>
            <a:ext cx="10774988" cy="2797448"/>
            <a:chOff x="316532" y="3160172"/>
            <a:chExt cx="11453476" cy="2973600"/>
          </a:xfrm>
        </p:grpSpPr>
        <p:grpSp>
          <p:nvGrpSpPr>
            <p:cNvPr id="19" name="Gruppo 18">
              <a:extLst>
                <a:ext uri="{FF2B5EF4-FFF2-40B4-BE49-F238E27FC236}">
                  <a16:creationId xmlns:a16="http://schemas.microsoft.com/office/drawing/2014/main" id="{7874B613-1DD8-452E-46C3-EAC6D720F577}"/>
                </a:ext>
              </a:extLst>
            </p:cNvPr>
            <p:cNvGrpSpPr/>
            <p:nvPr/>
          </p:nvGrpSpPr>
          <p:grpSpPr>
            <a:xfrm>
              <a:off x="4091864" y="4474745"/>
              <a:ext cx="507465" cy="344455"/>
              <a:chOff x="4975185" y="3779871"/>
              <a:chExt cx="507465" cy="344455"/>
            </a:xfrm>
          </p:grpSpPr>
          <p:sp>
            <p:nvSpPr>
              <p:cNvPr id="17" name="Freccia a destra 16">
                <a:extLst>
                  <a:ext uri="{FF2B5EF4-FFF2-40B4-BE49-F238E27FC236}">
                    <a16:creationId xmlns:a16="http://schemas.microsoft.com/office/drawing/2014/main" id="{5120D3E5-D64C-53B6-11AC-C880A52AE1A4}"/>
                  </a:ext>
                </a:extLst>
              </p:cNvPr>
              <p:cNvSpPr/>
              <p:nvPr/>
            </p:nvSpPr>
            <p:spPr>
              <a:xfrm>
                <a:off x="4984709" y="3779871"/>
                <a:ext cx="497941" cy="344455"/>
              </a:xfrm>
              <a:prstGeom prst="right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5" name="Freccia a destra 14">
                <a:extLst>
                  <a:ext uri="{FF2B5EF4-FFF2-40B4-BE49-F238E27FC236}">
                    <a16:creationId xmlns:a16="http://schemas.microsoft.com/office/drawing/2014/main" id="{2BCCD85E-5FC0-0812-C0C5-A9F7AD20A0C1}"/>
                  </a:ext>
                </a:extLst>
              </p:cNvPr>
              <p:cNvSpPr/>
              <p:nvPr/>
            </p:nvSpPr>
            <p:spPr>
              <a:xfrm>
                <a:off x="4975185" y="3780813"/>
                <a:ext cx="497941" cy="325925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solidFill>
                <a:srgbClr val="68C3CC"/>
              </a:solidFill>
              <a:ln>
                <a:solidFill>
                  <a:srgbClr val="68C3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>
                  <a:solidFill>
                    <a:srgbClr val="68C3CC"/>
                  </a:solidFill>
                </a:endParaRPr>
              </a:p>
            </p:txBody>
          </p:sp>
        </p:grpSp>
        <p:grpSp>
          <p:nvGrpSpPr>
            <p:cNvPr id="20" name="Gruppo 19">
              <a:extLst>
                <a:ext uri="{FF2B5EF4-FFF2-40B4-BE49-F238E27FC236}">
                  <a16:creationId xmlns:a16="http://schemas.microsoft.com/office/drawing/2014/main" id="{4F245621-D474-62D1-E597-57448961993F}"/>
                </a:ext>
              </a:extLst>
            </p:cNvPr>
            <p:cNvGrpSpPr/>
            <p:nvPr/>
          </p:nvGrpSpPr>
          <p:grpSpPr>
            <a:xfrm>
              <a:off x="7928660" y="4474745"/>
              <a:ext cx="507465" cy="344455"/>
              <a:chOff x="7996537" y="3779871"/>
              <a:chExt cx="507465" cy="344455"/>
            </a:xfrm>
          </p:grpSpPr>
          <p:sp>
            <p:nvSpPr>
              <p:cNvPr id="18" name="Freccia a destra 17">
                <a:extLst>
                  <a:ext uri="{FF2B5EF4-FFF2-40B4-BE49-F238E27FC236}">
                    <a16:creationId xmlns:a16="http://schemas.microsoft.com/office/drawing/2014/main" id="{C8A604F7-DF61-3E54-E52F-0F645B98E473}"/>
                  </a:ext>
                </a:extLst>
              </p:cNvPr>
              <p:cNvSpPr/>
              <p:nvPr/>
            </p:nvSpPr>
            <p:spPr>
              <a:xfrm>
                <a:off x="8006061" y="3779871"/>
                <a:ext cx="497941" cy="344455"/>
              </a:xfrm>
              <a:prstGeom prst="rightArrow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6" name="Freccia a destra 15">
                <a:extLst>
                  <a:ext uri="{FF2B5EF4-FFF2-40B4-BE49-F238E27FC236}">
                    <a16:creationId xmlns:a16="http://schemas.microsoft.com/office/drawing/2014/main" id="{23990D08-B591-FB4D-C535-83DD0A6E4552}"/>
                  </a:ext>
                </a:extLst>
              </p:cNvPr>
              <p:cNvSpPr/>
              <p:nvPr/>
            </p:nvSpPr>
            <p:spPr>
              <a:xfrm>
                <a:off x="7996537" y="3780813"/>
                <a:ext cx="497941" cy="325925"/>
              </a:xfrm>
              <a:prstGeom prst="rightArrow">
                <a:avLst/>
              </a:prstGeom>
              <a:solidFill>
                <a:srgbClr val="68C3CC"/>
              </a:solidFill>
              <a:ln>
                <a:solidFill>
                  <a:srgbClr val="68C3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089E4A78-2AA9-EE91-B17C-A031574BC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6532" y="3160172"/>
              <a:ext cx="3514566" cy="29736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DC27C151-E99B-A06E-77F4-8BA768700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60095" y="3160172"/>
              <a:ext cx="2807799" cy="29736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D9A2E4C0-04F1-AC4D-2C4B-48F300C60D6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696890" y="3160172"/>
              <a:ext cx="3073118" cy="29736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F19149B9-063F-719C-E148-22E21C21F1AD}"/>
              </a:ext>
            </a:extLst>
          </p:cNvPr>
          <p:cNvSpPr txBox="1"/>
          <p:nvPr/>
        </p:nvSpPr>
        <p:spPr>
          <a:xfrm>
            <a:off x="604206" y="5717771"/>
            <a:ext cx="108792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Una volta compilati i campi, premendo il pulsante «</a:t>
            </a:r>
            <a:r>
              <a:rPr lang="it-IT" dirty="0" err="1">
                <a:latin typeface="Poppins" panose="00000500000000000000" pitchFamily="2" charset="0"/>
                <a:cs typeface="Poppins" panose="00000500000000000000" pitchFamily="2" charset="0"/>
              </a:rPr>
              <a:t>Send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confermerete il ticket</a:t>
            </a:r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50A48E73-8934-2199-D41D-7C357769DAA0}"/>
              </a:ext>
            </a:extLst>
          </p:cNvPr>
          <p:cNvSpPr/>
          <p:nvPr/>
        </p:nvSpPr>
        <p:spPr>
          <a:xfrm>
            <a:off x="8697068" y="5132277"/>
            <a:ext cx="366094" cy="223850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4" name="Connettore 2 23">
            <a:extLst>
              <a:ext uri="{FF2B5EF4-FFF2-40B4-BE49-F238E27FC236}">
                <a16:creationId xmlns:a16="http://schemas.microsoft.com/office/drawing/2014/main" id="{63C2122E-F142-9DBE-AA20-E507B1DD97B7}"/>
              </a:ext>
            </a:extLst>
          </p:cNvPr>
          <p:cNvCxnSpPr>
            <a:cxnSpLocks/>
          </p:cNvCxnSpPr>
          <p:nvPr/>
        </p:nvCxnSpPr>
        <p:spPr>
          <a:xfrm flipV="1">
            <a:off x="7844138" y="5321792"/>
            <a:ext cx="852930" cy="473276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062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0E23CF30-B376-A9D1-3F77-7DCE1FF47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04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0E23CF30-B376-A9D1-3F77-7DCE1FF47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C002EC46-BE1B-333E-AD23-5D7D8FD8360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4</a:t>
            </a:fld>
            <a:endParaRPr lang="it-IT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AFEC7C63-2202-FA0B-1861-BCBAF1C47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17" y="256491"/>
            <a:ext cx="11697822" cy="858028"/>
          </a:xfrm>
        </p:spPr>
        <p:txBody>
          <a:bodyPr vert="horz"/>
          <a:lstStyle/>
          <a:p>
            <a:pPr algn="l"/>
            <a:r>
              <a:rPr lang="it-IT" sz="3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nitoraggio e modifica ticket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2126B6F-60A9-A7D4-25B5-E7149B305EF5}"/>
              </a:ext>
            </a:extLst>
          </p:cNvPr>
          <p:cNvSpPr txBox="1"/>
          <p:nvPr/>
        </p:nvSpPr>
        <p:spPr>
          <a:xfrm>
            <a:off x="388302" y="1094061"/>
            <a:ext cx="108792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Riceverai ogni aggiornamento via mail; tuttavia, è possibile monitorare il ticket manualmente attraverso il percorso </a:t>
            </a:r>
            <a:r>
              <a:rPr lang="it-IT" dirty="0" err="1">
                <a:latin typeface="Poppins" panose="00000500000000000000" pitchFamily="2" charset="0"/>
                <a:cs typeface="Poppins" panose="00000500000000000000" pitchFamily="2" charset="0"/>
              </a:rPr>
              <a:t>Requests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 </a:t>
            </a:r>
            <a:r>
              <a:rPr lang="it-IT" b="1" dirty="0" err="1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Created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 by me</a:t>
            </a:r>
            <a:endParaRPr lang="it-IT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F19149B9-063F-719C-E148-22E21C21F1AD}"/>
              </a:ext>
            </a:extLst>
          </p:cNvPr>
          <p:cNvSpPr txBox="1"/>
          <p:nvPr/>
        </p:nvSpPr>
        <p:spPr>
          <a:xfrm>
            <a:off x="352417" y="3981687"/>
            <a:ext cx="108792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Cliccando sui campi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Reference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o «</a:t>
            </a:r>
            <a:r>
              <a:rPr lang="it-IT" b="1" dirty="0" err="1">
                <a:latin typeface="Poppins" panose="00000500000000000000" pitchFamily="2" charset="0"/>
                <a:cs typeface="Poppins" panose="00000500000000000000" pitchFamily="2" charset="0"/>
              </a:rPr>
              <a:t>Summary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sarà possibile inserire commenti o allegati anche dopo l’invio del ticket: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806C7459-9951-78B0-276F-439C610FEEC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2811" b="56869"/>
          <a:stretch/>
        </p:blipFill>
        <p:spPr>
          <a:xfrm>
            <a:off x="1412622" y="1957291"/>
            <a:ext cx="2787834" cy="1709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BB4C240F-5D27-FF84-4383-73A23CC264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4942" y="1957291"/>
            <a:ext cx="3848651" cy="1709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612BB06B-711F-7AB6-94AA-D4471B63CC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4942" y="4362126"/>
            <a:ext cx="3848651" cy="1709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9232D4E5-4747-8D5D-6D3A-DAD6EB7FD9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2622" y="4362126"/>
            <a:ext cx="2787834" cy="17094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3" name="Gruppo 22">
            <a:extLst>
              <a:ext uri="{FF2B5EF4-FFF2-40B4-BE49-F238E27FC236}">
                <a16:creationId xmlns:a16="http://schemas.microsoft.com/office/drawing/2014/main" id="{607B9237-FC1A-117B-909E-0B1517F21426}"/>
              </a:ext>
            </a:extLst>
          </p:cNvPr>
          <p:cNvGrpSpPr/>
          <p:nvPr/>
        </p:nvGrpSpPr>
        <p:grpSpPr>
          <a:xfrm>
            <a:off x="5223966" y="2644205"/>
            <a:ext cx="507465" cy="344455"/>
            <a:chOff x="4975185" y="3779871"/>
            <a:chExt cx="507465" cy="344455"/>
          </a:xfrm>
          <a:solidFill>
            <a:srgbClr val="00B0F0"/>
          </a:solidFill>
        </p:grpSpPr>
        <p:sp>
          <p:nvSpPr>
            <p:cNvPr id="25" name="Freccia a destra 24">
              <a:extLst>
                <a:ext uri="{FF2B5EF4-FFF2-40B4-BE49-F238E27FC236}">
                  <a16:creationId xmlns:a16="http://schemas.microsoft.com/office/drawing/2014/main" id="{1F539F88-BBEF-4BA9-6319-5B20E8E33AE2}"/>
                </a:ext>
              </a:extLst>
            </p:cNvPr>
            <p:cNvSpPr/>
            <p:nvPr/>
          </p:nvSpPr>
          <p:spPr>
            <a:xfrm>
              <a:off x="4984709" y="3779871"/>
              <a:ext cx="497941" cy="34445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68C3CC"/>
                </a:solidFill>
              </a:endParaRPr>
            </a:p>
          </p:txBody>
        </p:sp>
        <p:sp>
          <p:nvSpPr>
            <p:cNvPr id="26" name="Freccia a destra 25">
              <a:extLst>
                <a:ext uri="{FF2B5EF4-FFF2-40B4-BE49-F238E27FC236}">
                  <a16:creationId xmlns:a16="http://schemas.microsoft.com/office/drawing/2014/main" id="{D4196AD5-38C2-C0EA-A6FD-73329CD65DCA}"/>
                </a:ext>
              </a:extLst>
            </p:cNvPr>
            <p:cNvSpPr/>
            <p:nvPr/>
          </p:nvSpPr>
          <p:spPr>
            <a:xfrm>
              <a:off x="4975185" y="3780813"/>
              <a:ext cx="497941" cy="325925"/>
            </a:xfrm>
            <a:prstGeom prst="rightArrow">
              <a:avLst/>
            </a:prstGeom>
            <a:solidFill>
              <a:srgbClr val="68C3CC"/>
            </a:solidFill>
            <a:ln>
              <a:solidFill>
                <a:srgbClr val="68C3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68C3CC"/>
                </a:solidFill>
              </a:endParaRPr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F74C89D2-45CE-812F-ABDC-B6CD72FF69A6}"/>
              </a:ext>
            </a:extLst>
          </p:cNvPr>
          <p:cNvGrpSpPr/>
          <p:nvPr/>
        </p:nvGrpSpPr>
        <p:grpSpPr>
          <a:xfrm>
            <a:off x="5223966" y="5044611"/>
            <a:ext cx="507465" cy="344455"/>
            <a:chOff x="4975185" y="3779871"/>
            <a:chExt cx="507465" cy="344455"/>
          </a:xfrm>
          <a:solidFill>
            <a:srgbClr val="00B0F0"/>
          </a:solidFill>
        </p:grpSpPr>
        <p:sp>
          <p:nvSpPr>
            <p:cNvPr id="28" name="Freccia a destra 27">
              <a:extLst>
                <a:ext uri="{FF2B5EF4-FFF2-40B4-BE49-F238E27FC236}">
                  <a16:creationId xmlns:a16="http://schemas.microsoft.com/office/drawing/2014/main" id="{70198255-5D19-4828-3E3B-84B0A15AF9AB}"/>
                </a:ext>
              </a:extLst>
            </p:cNvPr>
            <p:cNvSpPr/>
            <p:nvPr/>
          </p:nvSpPr>
          <p:spPr>
            <a:xfrm>
              <a:off x="4984709" y="3779871"/>
              <a:ext cx="497941" cy="34445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9" name="Freccia a destra 28">
              <a:extLst>
                <a:ext uri="{FF2B5EF4-FFF2-40B4-BE49-F238E27FC236}">
                  <a16:creationId xmlns:a16="http://schemas.microsoft.com/office/drawing/2014/main" id="{B39C449D-C7DA-A063-0319-4E5EF243C122}"/>
                </a:ext>
              </a:extLst>
            </p:cNvPr>
            <p:cNvSpPr/>
            <p:nvPr/>
          </p:nvSpPr>
          <p:spPr>
            <a:xfrm>
              <a:off x="4975185" y="3780813"/>
              <a:ext cx="497941" cy="325925"/>
            </a:xfrm>
            <a:prstGeom prst="rightArrow">
              <a:avLst/>
            </a:prstGeom>
            <a:solidFill>
              <a:srgbClr val="68C3CC"/>
            </a:solidFill>
            <a:ln>
              <a:solidFill>
                <a:srgbClr val="68C3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</p:grpSp>
    </p:spTree>
    <p:extLst>
      <p:ext uri="{BB962C8B-B14F-4D97-AF65-F5344CB8AC3E}">
        <p14:creationId xmlns:p14="http://schemas.microsoft.com/office/powerpoint/2010/main" val="2000061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12"/>
          <p:cNvSpPr txBox="1">
            <a:spLocks noGrp="1"/>
          </p:cNvSpPr>
          <p:nvPr>
            <p:ph type="title"/>
          </p:nvPr>
        </p:nvSpPr>
        <p:spPr>
          <a:xfrm>
            <a:off x="229896" y="414454"/>
            <a:ext cx="11802319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200"/>
              <a:buFont typeface="Helvetica Neue"/>
              <a:buNone/>
            </a:pPr>
            <a:r>
              <a:rPr lang="it-IT" sz="5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JIRA</a:t>
            </a:r>
            <a:endParaRPr sz="5000" dirty="0">
              <a:solidFill>
                <a:srgbClr val="68C3CC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5</a:t>
            </a:fld>
            <a:endParaRPr/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5FFAB243-546A-0044-5D27-37658977E6B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64283" y="118539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</a:pPr>
            <a:r>
              <a:rPr lang="it-IT" sz="1800" b="1" i="1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Grazie per l’attenzione</a:t>
            </a:r>
            <a:endParaRPr lang="it-IT" sz="1800" b="1" i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F5BD1F7-E378-BB4A-8677-781102B268C6}"/>
              </a:ext>
            </a:extLst>
          </p:cNvPr>
          <p:cNvSpPr txBox="1"/>
          <p:nvPr/>
        </p:nvSpPr>
        <p:spPr>
          <a:xfrm>
            <a:off x="2770373" y="3054307"/>
            <a:ext cx="10382250" cy="576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e dovessi avere ulteriori dubbi o domande scrivi a: </a:t>
            </a:r>
            <a:r>
              <a:rPr lang="it-IT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ople@retexspa.com</a:t>
            </a:r>
          </a:p>
        </p:txBody>
      </p:sp>
    </p:spTree>
    <p:extLst>
      <p:ext uri="{BB962C8B-B14F-4D97-AF65-F5344CB8AC3E}">
        <p14:creationId xmlns:p14="http://schemas.microsoft.com/office/powerpoint/2010/main" val="3442962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1FAC6A0492A9B44A7F4E810A7C71CCA" ma:contentTypeVersion="14" ma:contentTypeDescription="Creare un nuovo documento." ma:contentTypeScope="" ma:versionID="ac7fa3f892b2ede0361161e2c1b583f0">
  <xsd:schema xmlns:xsd="http://www.w3.org/2001/XMLSchema" xmlns:xs="http://www.w3.org/2001/XMLSchema" xmlns:p="http://schemas.microsoft.com/office/2006/metadata/properties" xmlns:ns2="5ec9dc1f-7a1d-40f4-a75d-435257560b08" xmlns:ns3="a53e6eff-38bb-4151-86da-a930cce35181" targetNamespace="http://schemas.microsoft.com/office/2006/metadata/properties" ma:root="true" ma:fieldsID="95938cc26f69241f5e624883f2123664" ns2:_="" ns3:_="">
    <xsd:import namespace="5ec9dc1f-7a1d-40f4-a75d-435257560b08"/>
    <xsd:import namespace="a53e6eff-38bb-4151-86da-a930cce351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9dc1f-7a1d-40f4-a75d-435257560b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85c3888-8698-4692-9a19-691e34d1425d}" ma:internalName="TaxCatchAll" ma:showField="CatchAllData" ma:web="5ec9dc1f-7a1d-40f4-a75d-435257560b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e6eff-38bb-4151-86da-a930cce351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47cac4b7-b69d-4a39-85a7-016965ba31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c9dc1f-7a1d-40f4-a75d-435257560b08" xsi:nil="true"/>
    <lcf76f155ced4ddcb4097134ff3c332f xmlns="a53e6eff-38bb-4151-86da-a930cce3518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F7ABA5B-7E9F-45F4-A69E-EEA4DF6BEE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5E51CE-787A-46EF-9457-C15A6BE1F24A}"/>
</file>

<file path=customXml/itemProps3.xml><?xml version="1.0" encoding="utf-8"?>
<ds:datastoreItem xmlns:ds="http://schemas.openxmlformats.org/officeDocument/2006/customXml" ds:itemID="{6792197E-2718-4229-832D-5A69843D47A1}">
  <ds:schemaRefs>
    <ds:schemaRef ds:uri="http://schemas.microsoft.com/office/2006/metadata/properties"/>
    <ds:schemaRef ds:uri="http://schemas.microsoft.com/office/infopath/2007/PartnerControls"/>
    <ds:schemaRef ds:uri="5ec9dc1f-7a1d-40f4-a75d-435257560b08"/>
    <ds:schemaRef ds:uri="a53e6eff-38bb-4151-86da-a930cce35181"/>
  </ds:schemaRefs>
</ds:datastoreItem>
</file>

<file path=docMetadata/LabelInfo.xml><?xml version="1.0" encoding="utf-8"?>
<clbl:labelList xmlns:clbl="http://schemas.microsoft.com/office/2020/mipLabelMetadata">
  <clbl:label id="{da6eb597-369a-4930-84c5-101d079358d0}" enabled="1" method="Standard" siteId="{1f991ab0-af89-4a9a-b74d-b0b5bcb487c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204</Words>
  <Application>Microsoft Office PowerPoint</Application>
  <PresentationFormat>Widescreen</PresentationFormat>
  <Paragraphs>28</Paragraphs>
  <Slides>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Cover</vt:lpstr>
      <vt:lpstr>Content</vt:lpstr>
      <vt:lpstr>Supporto tech JIRA </vt:lpstr>
      <vt:lpstr>Che cos’è Jira?</vt:lpstr>
      <vt:lpstr>Come posso aprire un ticket per il supporto IT?</vt:lpstr>
      <vt:lpstr>Monitoraggio e modifica ticket</vt:lpstr>
      <vt:lpstr>JIR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o tech – portale Jira</dc:title>
  <dc:creator>Luca Meloni</dc:creator>
  <cp:lastModifiedBy>Marialuisa Pes</cp:lastModifiedBy>
  <cp:revision>3</cp:revision>
  <dcterms:created xsi:type="dcterms:W3CDTF">2022-10-05T13:11:29Z</dcterms:created>
  <dcterms:modified xsi:type="dcterms:W3CDTF">2024-01-03T16:5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FAC6A0492A9B44A7F4E810A7C71CCA</vt:lpwstr>
  </property>
  <property fmtid="{D5CDD505-2E9C-101B-9397-08002B2CF9AE}" pid="3" name="MediaServiceImageTags">
    <vt:lpwstr/>
  </property>
</Properties>
</file>